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5C4C64-AA28-460B-BA4C-8A9D9C572F74}" v="49" dt="2023-03-09T23:18:39.1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A55C4C64-AA28-460B-BA4C-8A9D9C572F74}"/>
    <pc:docChg chg="undo custSel modSld">
      <pc:chgData name="Roberto Gallardo" userId="49a044883f185952" providerId="LiveId" clId="{A55C4C64-AA28-460B-BA4C-8A9D9C572F74}" dt="2023-03-09T23:18:48.301" v="406" actId="1035"/>
      <pc:docMkLst>
        <pc:docMk/>
      </pc:docMkLst>
      <pc:sldChg chg="addSp modSp mod">
        <pc:chgData name="Roberto Gallardo" userId="49a044883f185952" providerId="LiveId" clId="{A55C4C64-AA28-460B-BA4C-8A9D9C572F74}" dt="2023-03-09T23:13:25.089" v="115" actId="1076"/>
        <pc:sldMkLst>
          <pc:docMk/>
          <pc:sldMk cId="1418533539" sldId="271"/>
        </pc:sldMkLst>
        <pc:picChg chg="add mod">
          <ac:chgData name="Roberto Gallardo" userId="49a044883f185952" providerId="LiveId" clId="{A55C4C64-AA28-460B-BA4C-8A9D9C572F74}" dt="2023-03-09T23:13:25.089" v="115" actId="1076"/>
          <ac:picMkLst>
            <pc:docMk/>
            <pc:sldMk cId="1418533539" sldId="271"/>
            <ac:picMk id="6" creationId="{E880EA6D-1810-84DC-1F7B-0A73CA41F98A}"/>
          </ac:picMkLst>
        </pc:picChg>
      </pc:sldChg>
      <pc:sldChg chg="addSp modSp mod">
        <pc:chgData name="Roberto Gallardo" userId="49a044883f185952" providerId="LiveId" clId="{A55C4C64-AA28-460B-BA4C-8A9D9C572F74}" dt="2023-03-09T23:15:23.550" v="175" actId="1035"/>
        <pc:sldMkLst>
          <pc:docMk/>
          <pc:sldMk cId="2124848710" sldId="281"/>
        </pc:sldMkLst>
        <pc:picChg chg="add mod">
          <ac:chgData name="Roberto Gallardo" userId="49a044883f185952" providerId="LiveId" clId="{A55C4C64-AA28-460B-BA4C-8A9D9C572F74}" dt="2023-03-09T23:15:23.550" v="175" actId="1035"/>
          <ac:picMkLst>
            <pc:docMk/>
            <pc:sldMk cId="2124848710" sldId="281"/>
            <ac:picMk id="6" creationId="{151F8D4D-4EB6-D8DD-637A-C0CF8A3990C8}"/>
          </ac:picMkLst>
        </pc:picChg>
      </pc:sldChg>
      <pc:sldChg chg="addSp modSp mod">
        <pc:chgData name="Roberto Gallardo" userId="49a044883f185952" providerId="LiveId" clId="{A55C4C64-AA28-460B-BA4C-8A9D9C572F74}" dt="2023-03-09T23:15:41.485" v="196" actId="1035"/>
        <pc:sldMkLst>
          <pc:docMk/>
          <pc:sldMk cId="2028175529" sldId="282"/>
        </pc:sldMkLst>
        <pc:picChg chg="add mod">
          <ac:chgData name="Roberto Gallardo" userId="49a044883f185952" providerId="LiveId" clId="{A55C4C64-AA28-460B-BA4C-8A9D9C572F74}" dt="2023-03-09T23:15:41.485" v="196" actId="1035"/>
          <ac:picMkLst>
            <pc:docMk/>
            <pc:sldMk cId="2028175529" sldId="282"/>
            <ac:picMk id="7" creationId="{3E38DB82-25FD-3BAF-E693-137D282F4411}"/>
          </ac:picMkLst>
        </pc:picChg>
      </pc:sldChg>
      <pc:sldChg chg="addSp modSp mod">
        <pc:chgData name="Roberto Gallardo" userId="49a044883f185952" providerId="LiveId" clId="{A55C4C64-AA28-460B-BA4C-8A9D9C572F74}" dt="2023-03-09T23:16:05.797" v="239" actId="1036"/>
        <pc:sldMkLst>
          <pc:docMk/>
          <pc:sldMk cId="1326517747" sldId="283"/>
        </pc:sldMkLst>
        <pc:picChg chg="add mod">
          <ac:chgData name="Roberto Gallardo" userId="49a044883f185952" providerId="LiveId" clId="{A55C4C64-AA28-460B-BA4C-8A9D9C572F74}" dt="2023-03-09T23:16:05.797" v="239" actId="1036"/>
          <ac:picMkLst>
            <pc:docMk/>
            <pc:sldMk cId="1326517747" sldId="283"/>
            <ac:picMk id="7" creationId="{D97DD524-BB85-E7A2-37DB-F4F2AD0ED50F}"/>
          </ac:picMkLst>
        </pc:picChg>
      </pc:sldChg>
      <pc:sldChg chg="addSp modSp mod">
        <pc:chgData name="Roberto Gallardo" userId="49a044883f185952" providerId="LiveId" clId="{A55C4C64-AA28-460B-BA4C-8A9D9C572F74}" dt="2023-03-09T23:16:19.767" v="253" actId="1036"/>
        <pc:sldMkLst>
          <pc:docMk/>
          <pc:sldMk cId="783739251" sldId="284"/>
        </pc:sldMkLst>
        <pc:picChg chg="add mod">
          <ac:chgData name="Roberto Gallardo" userId="49a044883f185952" providerId="LiveId" clId="{A55C4C64-AA28-460B-BA4C-8A9D9C572F74}" dt="2023-03-09T23:16:19.767" v="253" actId="1036"/>
          <ac:picMkLst>
            <pc:docMk/>
            <pc:sldMk cId="783739251" sldId="284"/>
            <ac:picMk id="7" creationId="{8A37A444-8624-EA41-4BB9-BC21B764E6DF}"/>
          </ac:picMkLst>
        </pc:picChg>
      </pc:sldChg>
      <pc:sldChg chg="addSp modSp mod">
        <pc:chgData name="Roberto Gallardo" userId="49a044883f185952" providerId="LiveId" clId="{A55C4C64-AA28-460B-BA4C-8A9D9C572F74}" dt="2023-03-09T23:16:36.755" v="272" actId="1035"/>
        <pc:sldMkLst>
          <pc:docMk/>
          <pc:sldMk cId="1676122233" sldId="285"/>
        </pc:sldMkLst>
        <pc:picChg chg="add mod">
          <ac:chgData name="Roberto Gallardo" userId="49a044883f185952" providerId="LiveId" clId="{A55C4C64-AA28-460B-BA4C-8A9D9C572F74}" dt="2023-03-09T23:16:36.755" v="272" actId="1035"/>
          <ac:picMkLst>
            <pc:docMk/>
            <pc:sldMk cId="1676122233" sldId="285"/>
            <ac:picMk id="7" creationId="{FA14D735-02DE-E322-F59B-2B3F647B189E}"/>
          </ac:picMkLst>
        </pc:picChg>
      </pc:sldChg>
      <pc:sldChg chg="addSp modSp mod">
        <pc:chgData name="Roberto Gallardo" userId="49a044883f185952" providerId="LiveId" clId="{A55C4C64-AA28-460B-BA4C-8A9D9C572F74}" dt="2023-03-09T23:16:56.327" v="297" actId="1035"/>
        <pc:sldMkLst>
          <pc:docMk/>
          <pc:sldMk cId="3100398757" sldId="286"/>
        </pc:sldMkLst>
        <pc:picChg chg="add mod">
          <ac:chgData name="Roberto Gallardo" userId="49a044883f185952" providerId="LiveId" clId="{A55C4C64-AA28-460B-BA4C-8A9D9C572F74}" dt="2023-03-09T23:16:56.327" v="297" actId="1035"/>
          <ac:picMkLst>
            <pc:docMk/>
            <pc:sldMk cId="3100398757" sldId="286"/>
            <ac:picMk id="7" creationId="{7FE78C50-89EB-5404-7A7C-4B805F4BEF34}"/>
          </ac:picMkLst>
        </pc:picChg>
      </pc:sldChg>
      <pc:sldChg chg="addSp modSp mod">
        <pc:chgData name="Roberto Gallardo" userId="49a044883f185952" providerId="LiveId" clId="{A55C4C64-AA28-460B-BA4C-8A9D9C572F74}" dt="2023-03-09T23:17:13.454" v="311" actId="1035"/>
        <pc:sldMkLst>
          <pc:docMk/>
          <pc:sldMk cId="1546475425" sldId="287"/>
        </pc:sldMkLst>
        <pc:picChg chg="add mod">
          <ac:chgData name="Roberto Gallardo" userId="49a044883f185952" providerId="LiveId" clId="{A55C4C64-AA28-460B-BA4C-8A9D9C572F74}" dt="2023-03-09T23:17:13.454" v="311" actId="1035"/>
          <ac:picMkLst>
            <pc:docMk/>
            <pc:sldMk cId="1546475425" sldId="287"/>
            <ac:picMk id="7" creationId="{87F94EAD-731F-2D7C-D21D-1EF62C233BB4}"/>
          </ac:picMkLst>
        </pc:picChg>
      </pc:sldChg>
      <pc:sldChg chg="addSp modSp mod">
        <pc:chgData name="Roberto Gallardo" userId="49a044883f185952" providerId="LiveId" clId="{A55C4C64-AA28-460B-BA4C-8A9D9C572F74}" dt="2023-03-09T23:17:46.783" v="354" actId="1035"/>
        <pc:sldMkLst>
          <pc:docMk/>
          <pc:sldMk cId="1380517306" sldId="288"/>
        </pc:sldMkLst>
        <pc:picChg chg="add mod">
          <ac:chgData name="Roberto Gallardo" userId="49a044883f185952" providerId="LiveId" clId="{A55C4C64-AA28-460B-BA4C-8A9D9C572F74}" dt="2023-03-09T23:17:46.783" v="354" actId="1035"/>
          <ac:picMkLst>
            <pc:docMk/>
            <pc:sldMk cId="1380517306" sldId="288"/>
            <ac:picMk id="7" creationId="{D736E9F3-1553-E652-AAFF-5F73ABD4DEE1}"/>
          </ac:picMkLst>
        </pc:picChg>
      </pc:sldChg>
      <pc:sldChg chg="addSp modSp mod">
        <pc:chgData name="Roberto Gallardo" userId="49a044883f185952" providerId="LiveId" clId="{A55C4C64-AA28-460B-BA4C-8A9D9C572F74}" dt="2023-03-09T23:17:59.788" v="362" actId="1036"/>
        <pc:sldMkLst>
          <pc:docMk/>
          <pc:sldMk cId="1388671151" sldId="289"/>
        </pc:sldMkLst>
        <pc:picChg chg="add mod">
          <ac:chgData name="Roberto Gallardo" userId="49a044883f185952" providerId="LiveId" clId="{A55C4C64-AA28-460B-BA4C-8A9D9C572F74}" dt="2023-03-09T23:17:59.788" v="362" actId="1036"/>
          <ac:picMkLst>
            <pc:docMk/>
            <pc:sldMk cId="1388671151" sldId="289"/>
            <ac:picMk id="7" creationId="{D7792B96-1D7C-E191-B041-0747B9EF05AC}"/>
          </ac:picMkLst>
        </pc:picChg>
      </pc:sldChg>
      <pc:sldChg chg="addSp modSp mod">
        <pc:chgData name="Roberto Gallardo" userId="49a044883f185952" providerId="LiveId" clId="{A55C4C64-AA28-460B-BA4C-8A9D9C572F74}" dt="2023-03-09T23:18:33.102" v="387" actId="1035"/>
        <pc:sldMkLst>
          <pc:docMk/>
          <pc:sldMk cId="2355376039" sldId="290"/>
        </pc:sldMkLst>
        <pc:picChg chg="add mod">
          <ac:chgData name="Roberto Gallardo" userId="49a044883f185952" providerId="LiveId" clId="{A55C4C64-AA28-460B-BA4C-8A9D9C572F74}" dt="2023-03-09T23:18:33.102" v="387" actId="1035"/>
          <ac:picMkLst>
            <pc:docMk/>
            <pc:sldMk cId="2355376039" sldId="290"/>
            <ac:picMk id="8" creationId="{A70E9106-2DBB-9270-5402-A29C75D98699}"/>
          </ac:picMkLst>
        </pc:picChg>
      </pc:sldChg>
      <pc:sldChg chg="addSp modSp mod">
        <pc:chgData name="Roberto Gallardo" userId="49a044883f185952" providerId="LiveId" clId="{A55C4C64-AA28-460B-BA4C-8A9D9C572F74}" dt="2023-03-09T23:18:48.301" v="406" actId="1035"/>
        <pc:sldMkLst>
          <pc:docMk/>
          <pc:sldMk cId="3757257295" sldId="291"/>
        </pc:sldMkLst>
        <pc:picChg chg="add mod">
          <ac:chgData name="Roberto Gallardo" userId="49a044883f185952" providerId="LiveId" clId="{A55C4C64-AA28-460B-BA4C-8A9D9C572F74}" dt="2023-03-09T23:18:48.301" v="406" actId="1035"/>
          <ac:picMkLst>
            <pc:docMk/>
            <pc:sldMk cId="3757257295" sldId="291"/>
            <ac:picMk id="8" creationId="{62224702-5DC8-57F2-F1DC-38B197713EC5}"/>
          </ac:picMkLst>
        </pc:picChg>
      </pc:sldChg>
      <pc:sldChg chg="addSp modSp mod">
        <pc:chgData name="Roberto Gallardo" userId="49a044883f185952" providerId="LiveId" clId="{A55C4C64-AA28-460B-BA4C-8A9D9C572F74}" dt="2023-03-09T23:17:28.832" v="330" actId="1035"/>
        <pc:sldMkLst>
          <pc:docMk/>
          <pc:sldMk cId="1259856727" sldId="292"/>
        </pc:sldMkLst>
        <pc:picChg chg="add mod">
          <ac:chgData name="Roberto Gallardo" userId="49a044883f185952" providerId="LiveId" clId="{A55C4C64-AA28-460B-BA4C-8A9D9C572F74}" dt="2023-03-09T23:17:28.832" v="330" actId="1035"/>
          <ac:picMkLst>
            <pc:docMk/>
            <pc:sldMk cId="1259856727" sldId="292"/>
            <ac:picMk id="7" creationId="{26B8C41C-506F-59D6-D5AB-B3C3A573873F}"/>
          </ac:picMkLst>
        </pc:picChg>
      </pc:sldChg>
      <pc:sldChg chg="addSp modSp mod">
        <pc:chgData name="Roberto Gallardo" userId="49a044883f185952" providerId="LiveId" clId="{A55C4C64-AA28-460B-BA4C-8A9D9C572F74}" dt="2023-03-09T23:15:04.917" v="161" actId="1035"/>
        <pc:sldMkLst>
          <pc:docMk/>
          <pc:sldMk cId="3324519687" sldId="293"/>
        </pc:sldMkLst>
        <pc:picChg chg="add mod">
          <ac:chgData name="Roberto Gallardo" userId="49a044883f185952" providerId="LiveId" clId="{A55C4C64-AA28-460B-BA4C-8A9D9C572F74}" dt="2023-03-09T23:15:04.917" v="161" actId="1035"/>
          <ac:picMkLst>
            <pc:docMk/>
            <pc:sldMk cId="3324519687" sldId="293"/>
            <ac:picMk id="7" creationId="{E7E99DA5-C47C-3920-C87B-F50D44F73986}"/>
          </ac:picMkLst>
        </pc:picChg>
      </pc:sldChg>
      <pc:sldChg chg="addSp modSp mod">
        <pc:chgData name="Roberto Gallardo" userId="49a044883f185952" providerId="LiveId" clId="{A55C4C64-AA28-460B-BA4C-8A9D9C572F74}" dt="2023-03-09T23:14:28.333" v="143" actId="1076"/>
        <pc:sldMkLst>
          <pc:docMk/>
          <pc:sldMk cId="3256182630" sldId="295"/>
        </pc:sldMkLst>
        <pc:picChg chg="add mod">
          <ac:chgData name="Roberto Gallardo" userId="49a044883f185952" providerId="LiveId" clId="{A55C4C64-AA28-460B-BA4C-8A9D9C572F74}" dt="2023-03-09T23:14:28.333" v="143" actId="1076"/>
          <ac:picMkLst>
            <pc:docMk/>
            <pc:sldMk cId="3256182630" sldId="295"/>
            <ac:picMk id="7" creationId="{3FE3C450-AF81-C45A-AE30-9098167E73A3}"/>
          </ac:picMkLst>
        </pc:picChg>
      </pc:sldChg>
      <pc:sldChg chg="addSp modSp mod">
        <pc:chgData name="Roberto Gallardo" userId="49a044883f185952" providerId="LiveId" clId="{A55C4C64-AA28-460B-BA4C-8A9D9C572F74}" dt="2023-03-09T23:14:49.628" v="152" actId="1076"/>
        <pc:sldMkLst>
          <pc:docMk/>
          <pc:sldMk cId="4057156843" sldId="296"/>
        </pc:sldMkLst>
        <pc:picChg chg="add mod">
          <ac:chgData name="Roberto Gallardo" userId="49a044883f185952" providerId="LiveId" clId="{A55C4C64-AA28-460B-BA4C-8A9D9C572F74}" dt="2023-03-09T23:14:49.628" v="152" actId="1076"/>
          <ac:picMkLst>
            <pc:docMk/>
            <pc:sldMk cId="4057156843" sldId="296"/>
            <ac:picMk id="7" creationId="{243F4DAE-8B90-247D-068C-2E236B8933A6}"/>
          </ac:picMkLst>
        </pc:picChg>
      </pc:sldChg>
      <pc:sldChg chg="addSp modSp mod">
        <pc:chgData name="Roberto Gallardo" userId="49a044883f185952" providerId="LiveId" clId="{A55C4C64-AA28-460B-BA4C-8A9D9C572F74}" dt="2023-03-09T23:14:01.069" v="131" actId="1076"/>
        <pc:sldMkLst>
          <pc:docMk/>
          <pc:sldMk cId="2080110827" sldId="297"/>
        </pc:sldMkLst>
        <pc:picChg chg="add mod">
          <ac:chgData name="Roberto Gallardo" userId="49a044883f185952" providerId="LiveId" clId="{A55C4C64-AA28-460B-BA4C-8A9D9C572F74}" dt="2023-03-09T23:14:01.069" v="131" actId="1076"/>
          <ac:picMkLst>
            <pc:docMk/>
            <pc:sldMk cId="2080110827" sldId="297"/>
            <ac:picMk id="6" creationId="{36369FA0-DC53-A5E6-073C-B239A9B47059}"/>
          </ac:picMkLst>
        </pc:picChg>
      </pc:sldChg>
      <pc:sldChg chg="addSp modSp mod">
        <pc:chgData name="Roberto Gallardo" userId="49a044883f185952" providerId="LiveId" clId="{A55C4C64-AA28-460B-BA4C-8A9D9C572F74}" dt="2023-03-09T23:13:40.629" v="123" actId="1076"/>
        <pc:sldMkLst>
          <pc:docMk/>
          <pc:sldMk cId="1532666867" sldId="298"/>
        </pc:sldMkLst>
        <pc:picChg chg="add mod">
          <ac:chgData name="Roberto Gallardo" userId="49a044883f185952" providerId="LiveId" clId="{A55C4C64-AA28-460B-BA4C-8A9D9C572F74}" dt="2023-03-09T23:13:40.629" v="123" actId="1076"/>
          <ac:picMkLst>
            <pc:docMk/>
            <pc:sldMk cId="1532666867" sldId="298"/>
            <ac:picMk id="6" creationId="{40639B0F-F96E-F270-47EA-D91C744742A5}"/>
          </ac:picMkLst>
        </pc:picChg>
      </pc:sldChg>
      <pc:sldChg chg="addSp modSp mod">
        <pc:chgData name="Roberto Gallardo" userId="49a044883f185952" providerId="LiveId" clId="{A55C4C64-AA28-460B-BA4C-8A9D9C572F74}" dt="2023-03-09T23:18:16.354" v="376" actId="1035"/>
        <pc:sldMkLst>
          <pc:docMk/>
          <pc:sldMk cId="1951376777" sldId="299"/>
        </pc:sldMkLst>
        <pc:picChg chg="add mod">
          <ac:chgData name="Roberto Gallardo" userId="49a044883f185952" providerId="LiveId" clId="{A55C4C64-AA28-460B-BA4C-8A9D9C572F74}" dt="2023-03-09T23:18:16.354" v="376" actId="1035"/>
          <ac:picMkLst>
            <pc:docMk/>
            <pc:sldMk cId="1951376777" sldId="299"/>
            <ac:picMk id="7" creationId="{F435FE07-19E5-B31F-9E15-6E813B08721C}"/>
          </ac:picMkLst>
        </pc:picChg>
      </pc:sldChg>
      <pc:sldChg chg="modSp mod">
        <pc:chgData name="Roberto Gallardo" userId="49a044883f185952" providerId="LiveId" clId="{A55C4C64-AA28-460B-BA4C-8A9D9C572F74}" dt="2023-02-25T19:35:21.288" v="104" actId="20577"/>
        <pc:sldMkLst>
          <pc:docMk/>
          <pc:sldMk cId="2366022307" sldId="306"/>
        </pc:sldMkLst>
        <pc:spChg chg="mod">
          <ac:chgData name="Roberto Gallardo" userId="49a044883f185952" providerId="LiveId" clId="{A55C4C64-AA28-460B-BA4C-8A9D9C572F74}" dt="2023-02-25T19:35:21.288" v="104" actId="20577"/>
          <ac:spMkLst>
            <pc:docMk/>
            <pc:sldMk cId="2366022307" sldId="306"/>
            <ac:spMk id="11" creationId="{09F5AE19-B4E3-7788-F25F-CDA80D596DAF}"/>
          </ac:spMkLst>
        </pc:spChg>
        <pc:grpChg chg="mod">
          <ac:chgData name="Roberto Gallardo" userId="49a044883f185952" providerId="LiveId" clId="{A55C4C64-AA28-460B-BA4C-8A9D9C572F74}" dt="2023-02-25T19:34:19.819" v="0" actId="1076"/>
          <ac:grpSpMkLst>
            <pc:docMk/>
            <pc:sldMk cId="2366022307" sldId="306"/>
            <ac:grpSpMk id="6" creationId="{4BC0EAD3-A621-359E-F822-1BC272A15D80}"/>
          </ac:grpSpMkLst>
        </pc:grpChg>
        <pc:cxnChg chg="mod">
          <ac:chgData name="Roberto Gallardo" userId="49a044883f185952" providerId="LiveId" clId="{A55C4C64-AA28-460B-BA4C-8A9D9C572F74}" dt="2023-02-25T19:35:06.509" v="97" actId="1036"/>
          <ac:cxnSpMkLst>
            <pc:docMk/>
            <pc:sldMk cId="2366022307" sldId="306"/>
            <ac:cxnSpMk id="27" creationId="{F0CF8142-8895-D0A8-A662-E40568742508}"/>
          </ac:cxnSpMkLst>
        </pc:cxnChg>
        <pc:cxnChg chg="mod">
          <ac:chgData name="Roberto Gallardo" userId="49a044883f185952" providerId="LiveId" clId="{A55C4C64-AA28-460B-BA4C-8A9D9C572F74}" dt="2023-02-25T19:35:13.411" v="98" actId="14100"/>
          <ac:cxnSpMkLst>
            <pc:docMk/>
            <pc:sldMk cId="2366022307" sldId="306"/>
            <ac:cxnSpMk id="28" creationId="{15C28C80-F0E1-159F-F103-CEA53436F6F9}"/>
          </ac:cxnSpMkLst>
        </pc:cxnChg>
        <pc:cxnChg chg="mod">
          <ac:chgData name="Roberto Gallardo" userId="49a044883f185952" providerId="LiveId" clId="{A55C4C64-AA28-460B-BA4C-8A9D9C572F74}" dt="2023-02-25T19:34:56.555" v="60"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Hok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DAA1CF1-01E0-B373-ACAE-1633DBA7787B}"/>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0B7F74A8-A353-DA19-166A-BB53ACF472A9}"/>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schematic, map&#10;&#10;Description automatically generated">
            <a:extLst>
              <a:ext uri="{FF2B5EF4-FFF2-40B4-BE49-F238E27FC236}">
                <a16:creationId xmlns:a16="http://schemas.microsoft.com/office/drawing/2014/main" id="{E880EA6D-1810-84DC-1F7B-0A73CA41F9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40639B0F-F96E-F270-47EA-D91C744742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6369FA0-DC53-A5E6-073C-B239A9B470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EE1FEF2-B0A0-FD2E-54C2-84E6EF403161}"/>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schematic, map&#10;&#10;Description automatically generated">
            <a:extLst>
              <a:ext uri="{FF2B5EF4-FFF2-40B4-BE49-F238E27FC236}">
                <a16:creationId xmlns:a16="http://schemas.microsoft.com/office/drawing/2014/main" id="{3FE3C450-AF81-C45A-AE30-9098167E73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540B05B-C93C-5BFB-7E71-585D3BBE6883}"/>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schematic&#10;&#10;Description automatically generated">
            <a:extLst>
              <a:ext uri="{FF2B5EF4-FFF2-40B4-BE49-F238E27FC236}">
                <a16:creationId xmlns:a16="http://schemas.microsoft.com/office/drawing/2014/main" id="{243F4DAE-8B90-247D-068C-2E236B893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346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3E90540-1D50-78EA-BE0A-C6FDE412AE0B}"/>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map&#10;&#10;Description automatically generated">
            <a:extLst>
              <a:ext uri="{FF2B5EF4-FFF2-40B4-BE49-F238E27FC236}">
                <a16:creationId xmlns:a16="http://schemas.microsoft.com/office/drawing/2014/main" id="{E7E99DA5-C47C-3920-C87B-F50D44F739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6"/>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B6A2331-8EA3-E5EF-C98A-3382907D7C08}"/>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diagram&#10;&#10;Description automatically generated">
            <a:extLst>
              <a:ext uri="{FF2B5EF4-FFF2-40B4-BE49-F238E27FC236}">
                <a16:creationId xmlns:a16="http://schemas.microsoft.com/office/drawing/2014/main" id="{151F8D4D-4EB6-D8DD-637A-C0CF8A399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315"/>
            <a:ext cx="6400801"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A478290E-6BF1-8F85-2F94-9F543F0E1C0E}"/>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3E38DB82-25FD-3BAF-E693-137D282F44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686"/>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F64732D2-09F9-49E0-D274-4D53571DD65B}"/>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D97DD524-BB85-E7A2-37DB-F4F2AD0ED5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809"/>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C67CC3A-8B00-6DDA-2ACE-B5B537FB5BD8}"/>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8A37A444-8624-EA41-4BB9-BC21B764E6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9"/>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76F226E1-E92D-F24C-62AC-6E968A79BCB0}"/>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FA14D735-02DE-E322-F59B-2B3F647B18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80"/>
            <a:ext cx="6400800"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81578B8F-8AD8-F964-0795-9EE02A3B8744}"/>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7FE78C50-89EB-5404-7A7C-4B805F4BEF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201"/>
            <a:ext cx="6410325" cy="453310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D6C106B5-C7B9-E81F-A8E5-72E282A6CB81}"/>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low confidence">
            <a:extLst>
              <a:ext uri="{FF2B5EF4-FFF2-40B4-BE49-F238E27FC236}">
                <a16:creationId xmlns:a16="http://schemas.microsoft.com/office/drawing/2014/main" id="{87F94EAD-731F-2D7C-D21D-1EF62C233B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240"/>
            <a:ext cx="6400801"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071E55E1-7D5A-265F-4B7C-6E0E2BDABDB8}"/>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low confidence">
            <a:extLst>
              <a:ext uri="{FF2B5EF4-FFF2-40B4-BE49-F238E27FC236}">
                <a16:creationId xmlns:a16="http://schemas.microsoft.com/office/drawing/2014/main" id="{26B8C41C-506F-59D6-D5AB-B3C3A57387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076"/>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62039316-F456-142A-0619-914CADDD9CF6}"/>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low confidence">
            <a:extLst>
              <a:ext uri="{FF2B5EF4-FFF2-40B4-BE49-F238E27FC236}">
                <a16:creationId xmlns:a16="http://schemas.microsoft.com/office/drawing/2014/main" id="{D736E9F3-1553-E652-AAFF-5F73ABD4DE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33"/>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00647FF7-8004-F632-9301-8FC68B548D0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low confidence">
            <a:extLst>
              <a:ext uri="{FF2B5EF4-FFF2-40B4-BE49-F238E27FC236}">
                <a16:creationId xmlns:a16="http://schemas.microsoft.com/office/drawing/2014/main" id="{D7792B96-1D7C-E191-B041-0747B9EF05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519"/>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EB25FB35-8089-D96E-A2AD-673AFE8ED46A}"/>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A picture containing text, map&#10;&#10;Description automatically generated">
            <a:extLst>
              <a:ext uri="{FF2B5EF4-FFF2-40B4-BE49-F238E27FC236}">
                <a16:creationId xmlns:a16="http://schemas.microsoft.com/office/drawing/2014/main" id="{F435FE07-19E5-B31F-9E15-6E813B0872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59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13C7839B-2F8D-8A4E-21AA-90D528692A44}"/>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A70E9106-2DBB-9270-5402-A29C75D98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9725"/>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7BE007E2-762B-389E-A8BF-702ADA63DBBE}"/>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0D7CB0DD-A810-4378-1BE6-4C09AFBECD54}"/>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62224702-5DC8-57F2-F1DC-38B197713E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4016"/>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60D0B6D8-F343-CD3E-E3FD-DBB12BFF5422}"/>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4129DBD-F7D9-EDB7-AF49-910371B3FD4D}"/>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B61F6C8-45A8-395F-7222-361B707EB773}"/>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017364"/>
            <a:ext cx="1198148" cy="2776488"/>
            <a:chOff x="10485745" y="2105112"/>
            <a:chExt cx="1198148" cy="27764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1031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7.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1051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105112"/>
              <a:ext cx="0" cy="9980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995711"/>
              <a:ext cx="0" cy="8858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696275"/>
            <a:ext cx="1198148" cy="2200527"/>
            <a:chOff x="2775759" y="2291483"/>
            <a:chExt cx="1198148" cy="22005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705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9</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63078"/>
              <a:ext cx="0" cy="62893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21663AB-EF88-363B-4D77-5F4AE28CB35A}"/>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DACAF793-0653-C18F-CF95-6C9DBE90E5CA}"/>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C576765-DFBE-92BE-C28D-6953F7A4C055}"/>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93635E7-1CE1-6DF4-EBD4-53C23887B4FC}"/>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432787CB-55FD-C018-FD3D-42DFFA95611B}"/>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FF98B818-60A0-07AC-2309-417DAC8AEB58}"/>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998F83C8-74F5-6059-2782-50E92E6AF392}"/>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2311440-84BD-31B9-BDC0-09FD42394611}"/>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36</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23</cp:revision>
  <dcterms:created xsi:type="dcterms:W3CDTF">2022-07-04T13:32:28Z</dcterms:created>
  <dcterms:modified xsi:type="dcterms:W3CDTF">2023-03-09T23:18:53Z</dcterms:modified>
</cp:coreProperties>
</file>